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4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A9-4A3C-898F-FED845C575F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A9-4A3C-898F-FED845C575F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A9-4A3C-898F-FED845C575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A9-4A3C-898F-FED845C57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9F7336-C437-72ED-495C-054772E51A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D8251B2-275B-543D-DF3D-9A1209B5AF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8251B2-275B-543D-DF3D-9A1209B5A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35AA12F3-955B-67E3-6306-1E5D83BE5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Pie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7BEE116-D9C0-2636-D945-AAF68CF3D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4A03940-7256-2293-2AEA-E9993CC9F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B4CFBF2-76F2-59EC-559E-A1297A8E5A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A76333D-6DE8-FC95-61AD-B9B8D88BF7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2D5A1602-B6F0-5A11-A2C5-BC1AF8A2DDDB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32">
            <a:extLst>
              <a:ext uri="{FF2B5EF4-FFF2-40B4-BE49-F238E27FC236}">
                <a16:creationId xmlns:a16="http://schemas.microsoft.com/office/drawing/2014/main" id="{06CA9856-F278-B944-7428-690423396E43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88136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0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Pie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59</cp:revision>
  <dcterms:created xsi:type="dcterms:W3CDTF">2025-07-09T10:57:17Z</dcterms:created>
  <dcterms:modified xsi:type="dcterms:W3CDTF">2025-10-22T10:08:55Z</dcterms:modified>
  <cp:category/>
</cp:coreProperties>
</file>